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xlsb" ContentType="application/vnd.ms-excel.sheet.binary.macroEnabled.12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192.xml" ContentType="application/vnd.openxmlformats-officedocument.presentationml.slide+xml"/>
  <Override PartName="/ppt/tags/tag625.xml" ContentType="application/vnd.openxmlformats-officedocument.presentationml.tags+xml"/>
  <Override PartName="/ppt/tags/tag630.xml" ContentType="application/vnd.openxmlformats-officedocument.presentationml.tags+xml"/>
  <Override PartName="/ppt/tags/tag635.xml" ContentType="application/vnd.openxmlformats-officedocument.presentationml.tags+xml"/>
  <Override PartName="/ppt/tags/tag643.xml" ContentType="application/vnd.openxmlformats-officedocument.presentationml.tags+xml"/>
  <Override PartName="/ppt/tags/tag620.xml" ContentType="application/vnd.openxmlformats-officedocument.presentationml.tags+xml"/>
  <Override PartName="/ppt/tags/tag638.xml" ContentType="application/vnd.openxmlformats-officedocument.presentationml.tags+xml"/>
  <Override PartName="/ppt/tags/tag624.xml" ContentType="application/vnd.openxmlformats-officedocument.presentationml.tags+xml"/>
  <Override PartName="/ppt/tags/tag629.xml" ContentType="application/vnd.openxmlformats-officedocument.presentationml.tags+xml"/>
  <Override PartName="/ppt/tags/tag634.xml" ContentType="application/vnd.openxmlformats-officedocument.presentationml.tags+xml"/>
  <Override PartName="/ppt/tags/tag642.xml" ContentType="application/vnd.openxmlformats-officedocument.presentationml.tags+xml"/>
  <Override PartName="/ppt/tags/tag619.xml" ContentType="application/vnd.openxmlformats-officedocument.presentationml.tags+xml"/>
  <Override PartName="/ppt/tags/tag633.xml" ContentType="application/vnd.openxmlformats-officedocument.presentationml.tags+xml"/>
  <Override PartName="/ppt/tags/tag637.xml" ContentType="application/vnd.openxmlformats-officedocument.presentationml.tags+xml"/>
  <Override PartName="/ppt/notesSlides/notesSlide19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623.xml" ContentType="application/vnd.openxmlformats-officedocument.presentationml.tags+xml"/>
  <Override PartName="/ppt/tags/tag628.xml" ContentType="application/vnd.openxmlformats-officedocument.presentationml.tags+xml"/>
  <Override PartName="/ppt/tags/tag641.xml" ContentType="application/vnd.openxmlformats-officedocument.presentationml.tags+xml"/>
  <Override PartName="/ppt/charts/chart21.xml" ContentType="application/vnd.openxmlformats-officedocument.drawingml.chart+xml"/>
  <Override PartName="/ppt/tags/tag622.xml" ContentType="application/vnd.openxmlformats-officedocument.presentationml.tags+xml"/>
  <Override PartName="/ppt/tags/tag632.xml" ContentType="application/vnd.openxmlformats-officedocument.presentationml.tags+xml"/>
  <Override PartName="/ppt/tags/tag640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627.xml" ContentType="application/vnd.openxmlformats-officedocument.presentationml.tags+xml"/>
  <Override PartName="/ppt/tags/tag636.xml" ContentType="application/vnd.openxmlformats-officedocument.presentationml.tags+xml"/>
  <Override PartName="/ppt/tags/tag621.xml" ContentType="application/vnd.openxmlformats-officedocument.presentationml.tags+xml"/>
  <Override PartName="/ppt/tags/tag626.xml" ContentType="application/vnd.openxmlformats-officedocument.presentationml.tags+xml"/>
  <Override PartName="/ppt/tags/tag631.xml" ContentType="application/vnd.openxmlformats-officedocument.presentationml.tags+xml"/>
  <Override PartName="/ppt/tags/tag639.xml" ContentType="application/vnd.openxmlformats-officedocument.presentationml.tags+xml"/>
  <Override PartName="/ppt/tags/tag644.xml" ContentType="application/vnd.openxmlformats-officedocument.presentationml.tags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19" r:id="rId19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192.xml" Id="rId195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21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20.xlsb" Id="rId1" /></Relationships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369750205874279E-3"/>
          <c:y val="6.8149717514124297E-2"/>
          <c:w val="0.98572604995882518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C62-4AE2-BA19-9191F42B4D6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C62-4AE2-BA19-9191F42B4D6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C62-4AE2-BA19-9191F42B4D67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C62-4AE2-BA19-9191F42B4D6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C62-4AE2-BA19-9191F42B4D67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C62-4AE2-BA19-9191F42B4D67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C62-4AE2-BA19-9191F42B4D67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C62-4AE2-BA19-9191F42B4D67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C62-4AE2-BA19-9191F42B4D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13.846000000000002</c:v>
                </c:pt>
                <c:pt idx="5">
                  <c:v>25.056000000000001</c:v>
                </c:pt>
                <c:pt idx="6">
                  <c:v>25.706999999999997</c:v>
                </c:pt>
                <c:pt idx="7">
                  <c:v>29.447466666666699</c:v>
                </c:pt>
                <c:pt idx="8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C62-4AE2-BA19-9191F42B4D67}"/>
            </c:ext>
          </c:extLst>
        </c:ser>
        <c:ser>
          <c:idx val="1"/>
          <c:order val="1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C62-4AE2-BA19-9191F42B4D6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C62-4AE2-BA19-9191F42B4D6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DC62-4AE2-BA19-9191F42B4D6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DC62-4AE2-BA19-9191F42B4D6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DC62-4AE2-BA19-9191F42B4D67}"/>
                </c:ext>
              </c:extLst>
            </c:dLbl>
            <c:dLbl>
              <c:idx val="5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DC62-4AE2-BA19-9191F42B4D67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DC62-4AE2-BA19-9191F42B4D67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DC62-4AE2-BA19-9191F42B4D67}"/>
                </c:ext>
              </c:extLst>
            </c:dLbl>
            <c:dLbl>
              <c:idx val="8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DC62-4AE2-BA19-9191F42B4D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37.1</c:v>
                </c:pt>
                <c:pt idx="5">
                  <c:v>35.200000000000003</c:v>
                </c:pt>
                <c:pt idx="6">
                  <c:v>37.100000000000009</c:v>
                </c:pt>
                <c:pt idx="7">
                  <c:v>41.3</c:v>
                </c:pt>
                <c:pt idx="8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DC62-4AE2-BA19-9191F42B4D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89200239"/>
        <c:axId val="1"/>
      </c:barChart>
      <c:catAx>
        <c:axId val="9892002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892002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96.vml.rels>&#65279;<?xml version="1.0" encoding="utf-8"?><Relationships xmlns="http://schemas.openxmlformats.org/package/2006/relationships"><Relationship Type="http://schemas.openxmlformats.org/officeDocument/2006/relationships/image" Target="/ppt/media/image21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92.xml.rels>&#65279;<?xml version="1.0" encoding="utf-8"?><Relationships xmlns="http://schemas.openxmlformats.org/package/2006/relationships"><Relationship Type="http://schemas.openxmlformats.org/officeDocument/2006/relationships/slide" Target="/ppt/slides/slide192.xml" Id="rId2" /><Relationship Type="http://schemas.openxmlformats.org/officeDocument/2006/relationships/notesMaster" Target="/ppt/notesMasters/notesMaster1.xml" Id="rId1" /></Relationships>
</file>

<file path=ppt/notesSlides/notesSlide1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613746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92.xml.rels>&#65279;<?xml version="1.0" encoding="utf-8"?><Relationships xmlns="http://schemas.openxmlformats.org/package/2006/relationships"><Relationship Type="http://schemas.openxmlformats.org/officeDocument/2006/relationships/tags" Target="/ppt/tags/tag625.xml" Id="rId8" /><Relationship Type="http://schemas.openxmlformats.org/officeDocument/2006/relationships/tags" Target="/ppt/tags/tag630.xml" Id="rId13" /><Relationship Type="http://schemas.openxmlformats.org/officeDocument/2006/relationships/tags" Target="/ppt/tags/tag635.xml" Id="rId18" /><Relationship Type="http://schemas.openxmlformats.org/officeDocument/2006/relationships/tags" Target="/ppt/tags/tag643.xml" Id="rId26" /><Relationship Type="http://schemas.openxmlformats.org/officeDocument/2006/relationships/tags" Target="/ppt/tags/tag620.xml" Id="rId3" /><Relationship Type="http://schemas.openxmlformats.org/officeDocument/2006/relationships/tags" Target="/ppt/tags/tag638.xml" Id="rId21" /><Relationship Type="http://schemas.openxmlformats.org/officeDocument/2006/relationships/tags" Target="/ppt/tags/tag624.xml" Id="rId7" /><Relationship Type="http://schemas.openxmlformats.org/officeDocument/2006/relationships/tags" Target="/ppt/tags/tag629.xml" Id="rId12" /><Relationship Type="http://schemas.openxmlformats.org/officeDocument/2006/relationships/tags" Target="/ppt/tags/tag634.xml" Id="rId17" /><Relationship Type="http://schemas.openxmlformats.org/officeDocument/2006/relationships/tags" Target="/ppt/tags/tag642.xml" Id="rId25" /><Relationship Type="http://schemas.openxmlformats.org/officeDocument/2006/relationships/tags" Target="/ppt/tags/tag619.xml" Id="rId2" /><Relationship Type="http://schemas.openxmlformats.org/officeDocument/2006/relationships/tags" Target="/ppt/tags/tag633.xml" Id="rId16" /><Relationship Type="http://schemas.openxmlformats.org/officeDocument/2006/relationships/tags" Target="/ppt/tags/tag637.xml" Id="rId20" /><Relationship Type="http://schemas.openxmlformats.org/officeDocument/2006/relationships/notesSlide" Target="/ppt/notesSlides/notesSlide192.xml" Id="rId29" /><Relationship Type="http://schemas.openxmlformats.org/officeDocument/2006/relationships/vmlDrawing" Target="/ppt/drawings/vmlDrawing196.vml" Id="rId1" /><Relationship Type="http://schemas.openxmlformats.org/officeDocument/2006/relationships/tags" Target="/ppt/tags/tag623.xml" Id="rId6" /><Relationship Type="http://schemas.openxmlformats.org/officeDocument/2006/relationships/tags" Target="/ppt/tags/tag628.xml" Id="rId11" /><Relationship Type="http://schemas.openxmlformats.org/officeDocument/2006/relationships/tags" Target="/ppt/tags/tag641.xml" Id="rId24" /><Relationship Type="http://schemas.openxmlformats.org/officeDocument/2006/relationships/chart" Target="/ppt/charts/chart21.xml" Id="rId32" /><Relationship Type="http://schemas.openxmlformats.org/officeDocument/2006/relationships/tags" Target="/ppt/tags/tag622.xml" Id="rId5" /><Relationship Type="http://schemas.openxmlformats.org/officeDocument/2006/relationships/tags" Target="/ppt/tags/tag632.xml" Id="rId15" /><Relationship Type="http://schemas.openxmlformats.org/officeDocument/2006/relationships/tags" Target="/ppt/tags/tag640.xml" Id="rId23" /><Relationship Type="http://schemas.openxmlformats.org/officeDocument/2006/relationships/slideLayout" Target="/ppt/slideLayouts/slideLayout5.xml" Id="rId28" /><Relationship Type="http://schemas.openxmlformats.org/officeDocument/2006/relationships/tags" Target="/ppt/tags/tag627.xml" Id="rId10" /><Relationship Type="http://schemas.openxmlformats.org/officeDocument/2006/relationships/tags" Target="/ppt/tags/tag636.xml" Id="rId19" /><Relationship Type="http://schemas.openxmlformats.org/officeDocument/2006/relationships/image" Target="/ppt/media/image211.emf" Id="rId31" /><Relationship Type="http://schemas.openxmlformats.org/officeDocument/2006/relationships/tags" Target="/ppt/tags/tag621.xml" Id="rId4" /><Relationship Type="http://schemas.openxmlformats.org/officeDocument/2006/relationships/tags" Target="/ppt/tags/tag626.xml" Id="rId9" /><Relationship Type="http://schemas.openxmlformats.org/officeDocument/2006/relationships/tags" Target="/ppt/tags/tag631.xml" Id="rId14" /><Relationship Type="http://schemas.openxmlformats.org/officeDocument/2006/relationships/tags" Target="/ppt/tags/tag639.xml" Id="rId22" /><Relationship Type="http://schemas.openxmlformats.org/officeDocument/2006/relationships/tags" Target="/ppt/tags/tag644.xml" Id="rId27" /><Relationship Type="http://schemas.openxmlformats.org/officeDocument/2006/relationships/oleObject" Target="/ppt/embeddings/oleObject196.bin" Id="rId30" /></Relationships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5040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3" name="think-cell 幻灯片" r:id="rId30" imgW="360" imgH="360" progId="TCLayout.ActiveDocument.1">
                  <p:embed/>
                </p:oleObj>
              </mc:Choice>
              <mc:Fallback>
                <p:oleObj name="think-cell 幻灯片" r:id="rId30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Annotations: CAGR arrow</a:t>
            </a:r>
          </a:p>
        </p:txBody>
      </p:sp>
      <p:graphicFrame>
        <p:nvGraphicFramePr>
          <p:cNvPr id="37" name="Chart 3">
            <a:extLst>
              <a:ext uri="{FF2B5EF4-FFF2-40B4-BE49-F238E27FC236}">
                <a16:creationId xmlns:a16="http://schemas.microsoft.com/office/drawing/2014/main" id="{932DCA58-8DD2-4313-A04E-BF77888F6801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6174434"/>
              </p:ext>
            </p:extLst>
          </p:nvPr>
        </p:nvGraphicFramePr>
        <p:xfrm>
          <a:off x="320675" y="1258888"/>
          <a:ext cx="11566525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0F36A7-C487-6886-60FD-44225A77332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1036638" y="1579563"/>
            <a:ext cx="10134600" cy="16668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064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9307260-9C51-4CD3-A7C1-3A4A253F01AF}" type="datetime'''''''''''''''''''''20''''''''''2''''''''''''''''''''2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2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73275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B19DAB8E-A635-41E6-8B5D-F156E75C181A}" type="datetime'''''''''''''''''''''2''''''''''''02''''''''''''''3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3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385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81A759D-63EB-4971-9F8E-FCAAA7759BFE}" type="datetime'''''''''''''''''2''0''''''''''''''''''24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4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605338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7A17D31-FD04-4425-97DC-8B4A466EE41C}" type="datetime'2''''0''''''''''''2''''''''''''''''''''''5''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5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FF2579BA-910E-68A4-02AF-366A41A9446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8737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22E51FD-7163-496C-81CA-F711FC74AA0D}" type="datetime'''''''''''''''''''''2''0''''''''2''''6''''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6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4D11FCAB-8310-9FC0-E121-E8E50A808E6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146925" y="5507038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40B8507-A9EA-4C77-B6B1-4B072C05C54D}" type="datetime'''''''''''''''''''''''''2''''0''''''''''''''''''''''27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7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D2DE583F-8268-2428-521A-A98DA12DB6F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4058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47BF69D-CE41-41F2-8F97-0F60427A2061}" type="datetime'2''''''''0''2''''''''''''''''''''''''''8''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8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2647D264-6006-28EE-867F-EA5A5CB21AE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674225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BCBC7C4-11EF-4DA3-A675-B2FC9A9EEE90}" type="datetime'''''''''20''''''''''2''9''''''''''''''''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9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5A1F1E7C-21EA-EFE5-C44E-BF1FD1D9DF5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93946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483E433-C440-4FD7-B6BF-9654434653BE}" type="datetime'''2''0''''''''''3''''''''''''''''''0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30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14388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8C8B24-2FCA-4050-9222-07864E1FC1C0}" type="datetime'''''''''4''''''''''''''''''''0.''''''''''0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111376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DC9FF5F-ECE4-407B-857E-440FD42955B2}" type="datetime'''''''''''''''''''4''1''.''''''''''''''''7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.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370263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1C53A5-ABE1-4BE7-A29D-BB1851073958}" type="datetime'''''''''4''''5.''''''''''''''''''''''1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.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618038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34482A-3593-4C9B-974F-789845E8E7D1}" type="datetime'''''''''''''''''''''''''''''''5''''3''''''''''''.0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884863" y="2882900"/>
            <a:ext cx="439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669FEE4-1B5C-4279-8654-005BE2456449}" type="datetime'''''''''''5''''''''''''''''''0''''''''''''''''''''.''''''9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9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153275" y="2457450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DB326C3-E5DA-4A3E-8997-F088AC6D68EE}" type="datetime'''''''''''''''''''6''0''''''.''3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.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420100" y="2341563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CDB97FD-7023-417B-94AC-C278069AFD49}" type="datetime'''''''''6''''2''.''''''''8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9699625" y="19780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0BE7745-F7E6-47E3-BE66-CB3EAC3E1DF3}" type="datetime'''''''''7''''''''''''0''''.''''''''''7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961688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F48F98-2AC0-40A9-8B9E-6A6E071D35DA}" type="datetime'''''''''''''''''''''''7''''''6.''''''''''''''''''''''''''5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546725" y="2262188"/>
            <a:ext cx="1114425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CD9E886-26F8-4A43-8123-D71119A8ACC7}" type="datetime'''''''''''''''''''''''''''+''''''''''8%''''''''''''''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8%</a:t>
            </a:fld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 p.a.</a:t>
            </a:r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AF7F36DB-2003-4E52-B151-F86053675846}" type="datetime'''''''Re''ven''''''''''''ue'' ''''E''''''''MEA,'' $''bn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Revenue EMEA, $b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A2C74BA5-8C47-49EC-BCDB-D0D2EA8F15D4}" type="datetime'Revenu''e A''''''''''''''me''''r''i''cas'''', $b''''''n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Revenue Americas, $b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14246734-1CCD-F170-5573-2566148AF19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37006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rrows, stacked, column, columns, bar, bars, think-cell, chart, charts, graph, graphs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A5A4CAC-3834-8DAD-4BE7-FA2B6E2BDDEC}"/>
              </a:ext>
            </a:extLst>
          </p:cNvPr>
          <p:cNvSpPr txBox="1">
            <a:spLocks/>
          </p:cNvSpPr>
          <p:nvPr/>
        </p:nvSpPr>
        <p:spPr>
          <a:xfrm>
            <a:off x="407987" y="886115"/>
            <a:ext cx="7266164" cy="4437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400" b="0"/>
              <a:t>Insert a CAGR arrow to depict compound growth between categories.</a:t>
            </a:r>
          </a:p>
          <a:p>
            <a:pPr>
              <a:defRPr/>
            </a:pPr>
            <a:r>
              <a:rPr lang="en-US" sz="1400" b="0"/>
              <a:t>To specify where the arrow starts and ends, drag the handles at the ends of the arrow.</a:t>
            </a:r>
            <a:endParaRPr lang="en-US" sz="1400" b="0">
              <a:cs typeface="Arial"/>
            </a:endParaRPr>
          </a:p>
        </p:txBody>
      </p:sp>
      <p:sp>
        <p:nvSpPr>
          <p:cNvPr id="12" name="Rectangle 18">
            <a:extLst>
              <a:ext uri="{FF2B5EF4-FFF2-40B4-BE49-F238E27FC236}">
                <a16:creationId xmlns:a16="http://schemas.microsoft.com/office/drawing/2014/main" id="{788CEB9C-1EB7-49D5-19BD-383558532D5F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the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the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02782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pnwI6xwV5L6p_U69WS.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v7W0BwjO8oIjyvHmg3w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fVwMRjnMYKDEYZJAc_UA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Wrlpecb2bGjz1VueOEg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u4tRO7oLMb85gyZqUHg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LmFAxEuxMekdKDvq6aA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ldaiJ3YtiPOdsHYq6i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NxJcx1T2tPo5oS5kED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.L.ABCPM_qJ.pAMaGFw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oVEYbveUfxtGovsDnY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f9iCf62BesnuSCkBsky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